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2" r:id="rId1"/>
  </p:sldMasterIdLst>
  <p:sldIdLst>
    <p:sldId id="549" r:id="rId2"/>
    <p:sldId id="557" r:id="rId3"/>
    <p:sldId id="551" r:id="rId4"/>
    <p:sldId id="555" r:id="rId5"/>
    <p:sldId id="556" r:id="rId6"/>
    <p:sldId id="558" r:id="rId7"/>
    <p:sldId id="554" r:id="rId8"/>
    <p:sldId id="553" r:id="rId9"/>
    <p:sldId id="552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-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.xml"/><Relationship Id="rId7" Type="http://schemas.openxmlformats.org/officeDocument/2006/relationships/image" Target="../media/image1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5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6260E30-93F3-4134-BBF0-0DED2D3E4C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45" t="9806" r="17287" b="10494"/>
          <a:stretch/>
        </p:blipFill>
        <p:spPr>
          <a:xfrm flipH="1">
            <a:off x="0" y="1786233"/>
            <a:ext cx="12192000" cy="4482047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9B84468-8DE6-4CDE-A9BF-649B681FB722}"/>
              </a:ext>
            </a:extLst>
          </p:cNvPr>
          <p:cNvSpPr/>
          <p:nvPr userDrawn="1"/>
        </p:nvSpPr>
        <p:spPr>
          <a:xfrm>
            <a:off x="5919569" y="331268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2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53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261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644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577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933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936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ighligh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7" y="1509184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</a:t>
            </a:r>
            <a:endParaRPr lang="en-GB" dirty="0"/>
          </a:p>
        </p:txBody>
      </p:sp>
      <p:sp>
        <p:nvSpPr>
          <p:cNvPr id="22" name="Textplatzhalter 25"/>
          <p:cNvSpPr>
            <a:spLocks noGrp="1"/>
          </p:cNvSpPr>
          <p:nvPr>
            <p:ph type="body" sz="quarter" idx="11" hasCustomPrompt="1"/>
          </p:nvPr>
        </p:nvSpPr>
        <p:spPr>
          <a:xfrm>
            <a:off x="1473200" y="158225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1</a:t>
            </a:r>
            <a:endParaRPr lang="en-GB" dirty="0"/>
          </a:p>
        </p:txBody>
      </p:sp>
      <p:sp>
        <p:nvSpPr>
          <p:cNvPr id="23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7" y="2311448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2</a:t>
            </a:r>
            <a:endParaRPr lang="en-GB" dirty="0"/>
          </a:p>
        </p:txBody>
      </p:sp>
      <p:sp>
        <p:nvSpPr>
          <p:cNvPr id="25" name="Textplatzhalt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1473200" y="2384519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2</a:t>
            </a:r>
            <a:endParaRPr lang="en-GB" dirty="0"/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7" y="3113712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3</a:t>
            </a:r>
            <a:endParaRPr lang="en-GB" dirty="0"/>
          </a:p>
        </p:txBody>
      </p:sp>
      <p:sp>
        <p:nvSpPr>
          <p:cNvPr id="38" name="Textplatzhalt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1473200" y="3186783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3</a:t>
            </a:r>
            <a:endParaRPr lang="en-GB" dirty="0"/>
          </a:p>
        </p:txBody>
      </p:sp>
      <p:sp>
        <p:nvSpPr>
          <p:cNvPr id="39" name="Textplatzhalt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7" y="3915976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4</a:t>
            </a:r>
            <a:endParaRPr lang="en-GB" dirty="0"/>
          </a:p>
        </p:txBody>
      </p:sp>
      <p:sp>
        <p:nvSpPr>
          <p:cNvPr id="4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1473200" y="3989047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4</a:t>
            </a:r>
            <a:endParaRPr lang="en-GB" dirty="0"/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4718240"/>
            <a:ext cx="474435" cy="474435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5</a:t>
            </a:r>
            <a:endParaRPr lang="en-GB" dirty="0"/>
          </a:p>
        </p:txBody>
      </p:sp>
      <p:sp>
        <p:nvSpPr>
          <p:cNvPr id="42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1473200" y="4791311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5</a:t>
            </a:r>
            <a:endParaRPr lang="en-GB" dirty="0"/>
          </a:p>
        </p:txBody>
      </p:sp>
      <p:sp>
        <p:nvSpPr>
          <p:cNvPr id="43" name="Textplatzhalter 2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5520504"/>
            <a:ext cx="474435" cy="47443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133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6</a:t>
            </a:r>
            <a:endParaRPr lang="en-GB" dirty="0"/>
          </a:p>
        </p:txBody>
      </p:sp>
      <p:sp>
        <p:nvSpPr>
          <p:cNvPr id="44" name="Textplatzhalt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1473200" y="5593575"/>
            <a:ext cx="9950451" cy="328295"/>
          </a:xfrm>
        </p:spPr>
        <p:txBody>
          <a:bodyPr anchor="ctr">
            <a:spAutoFit/>
          </a:bodyPr>
          <a:lstStyle>
            <a:lvl1pPr marL="0" indent="0">
              <a:buNone/>
              <a:defRPr sz="2133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hema 6</a:t>
            </a:r>
            <a:endParaRPr lang="en-GB" dirty="0"/>
          </a:p>
        </p:txBody>
      </p:sp>
      <p:sp>
        <p:nvSpPr>
          <p:cNvPr id="4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035051" y="2135533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6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35051" y="2937797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7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035051" y="374006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8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035051" y="4542325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035051" y="5344589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50" name="Textplatzhalt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035051" y="6146851"/>
            <a:ext cx="10388600" cy="24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298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 bwMode="gray">
          <a:xfrm>
            <a:off x="814918" y="1507067"/>
            <a:ext cx="10608733" cy="46566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909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612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814918" y="404285"/>
            <a:ext cx="10608733" cy="908313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814917" y="1507067"/>
            <a:ext cx="5135033" cy="46566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6286501" y="1507067"/>
            <a:ext cx="5137151" cy="46566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473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E50580EF-A6CB-469F-8109-131284B3C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7" r="8261"/>
          <a:stretch/>
        </p:blipFill>
        <p:spPr>
          <a:xfrm>
            <a:off x="-1" y="1801640"/>
            <a:ext cx="12192001" cy="4482045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F43D3BC-C0F6-4DB7-BB1D-C3675380814D}"/>
              </a:ext>
            </a:extLst>
          </p:cNvPr>
          <p:cNvSpPr/>
          <p:nvPr userDrawn="1"/>
        </p:nvSpPr>
        <p:spPr>
          <a:xfrm>
            <a:off x="5919569" y="331268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11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814918" y="404285"/>
            <a:ext cx="10608733" cy="908313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14917" y="1501426"/>
            <a:ext cx="1949699" cy="4662308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79676" y="1501425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44435" y="1501425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309193" y="1501425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473952" y="1501425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979676" y="3136579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44435" y="3136579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309193" y="3136579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473952" y="3136579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979676" y="4771733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144435" y="4771733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309193" y="4771733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473952" y="4771733"/>
            <a:ext cx="1949699" cy="1392000"/>
          </a:xfrm>
          <a:noFill/>
          <a:ln w="9525">
            <a:solidFill>
              <a:schemeClr val="accent1"/>
            </a:solidFill>
          </a:ln>
        </p:spPr>
        <p:txBody>
          <a:bodyPr lIns="108014" tIns="72009" rIns="72009" bIns="72009"/>
          <a:lstStyle>
            <a:lvl1pPr marL="0" indent="0">
              <a:buNone/>
              <a:defRPr sz="1867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979676" y="2125425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44435" y="2125425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7309193" y="2125425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9473952" y="2125425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979676" y="3760579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144435" y="3760579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309193" y="3760579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9473952" y="3760579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979676" y="5395733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144435" y="5395733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7309193" y="5395733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473952" y="5395733"/>
            <a:ext cx="1949699" cy="768000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14917" y="2125425"/>
            <a:ext cx="1949699" cy="4038308"/>
          </a:xfrm>
          <a:noFill/>
        </p:spPr>
        <p:txBody>
          <a:bodyPr lIns="108014" tIns="0" rIns="72009" bIns="72009"/>
          <a:lstStyle>
            <a:lvl1pPr marL="0" indent="0">
              <a:buNone/>
              <a:defRPr sz="1600" b="0"/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 err="1"/>
              <a:t>Beschreibung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8207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to-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14917" y="1501067"/>
            <a:ext cx="2064000" cy="1440000"/>
          </a:xfrm>
          <a:solidFill>
            <a:schemeClr val="bg2"/>
          </a:solidFill>
          <a:ln>
            <a:solidFill>
              <a:srgbClr val="EF7D17"/>
            </a:solidFill>
          </a:ln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  <p:sp>
        <p:nvSpPr>
          <p:cNvPr id="58" name="Bildplatzhalter 4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814917" y="3112400"/>
            <a:ext cx="2064000" cy="1440000"/>
          </a:xfrm>
          <a:solidFill>
            <a:schemeClr val="bg2"/>
          </a:solidFill>
          <a:ln>
            <a:solidFill>
              <a:srgbClr val="EF7D17"/>
            </a:solidFill>
          </a:ln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  <p:sp>
        <p:nvSpPr>
          <p:cNvPr id="59" name="Bildplatzhalter 4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814917" y="4723733"/>
            <a:ext cx="2064000" cy="1440000"/>
          </a:xfrm>
          <a:solidFill>
            <a:schemeClr val="bg2"/>
          </a:solidFill>
          <a:ln>
            <a:solidFill>
              <a:srgbClr val="EF7D17"/>
            </a:solidFill>
          </a:ln>
        </p:spPr>
        <p:txBody>
          <a:bodyPr anchor="ctr"/>
          <a:lstStyle>
            <a:lvl1pPr marL="0" indent="0" algn="ctr">
              <a:buNone/>
              <a:defRPr sz="1867"/>
            </a:lvl1pPr>
          </a:lstStyle>
          <a:p>
            <a:r>
              <a:rPr lang="en-US" dirty="0" err="1"/>
              <a:t>Bild</a:t>
            </a:r>
            <a:r>
              <a:rPr lang="en-US" dirty="0"/>
              <a:t>/Icon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14919" y="1501067"/>
            <a:ext cx="10608733" cy="1440000"/>
          </a:xfrm>
          <a:noFill/>
          <a:ln w="9525">
            <a:solidFill>
              <a:srgbClr val="EF7D17"/>
            </a:solidFill>
          </a:ln>
        </p:spPr>
        <p:txBody>
          <a:bodyPr lIns="1764208" tIns="72009" rIns="72009" bIns="72009" anchor="ctr"/>
          <a:lstStyle>
            <a:lvl1pPr marL="0" indent="0" algn="l">
              <a:buNone/>
              <a:defRPr sz="2400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14919" y="3112400"/>
            <a:ext cx="10608733" cy="1440000"/>
          </a:xfrm>
          <a:noFill/>
          <a:ln w="9525">
            <a:solidFill>
              <a:srgbClr val="EF7D17"/>
            </a:solidFill>
          </a:ln>
        </p:spPr>
        <p:txBody>
          <a:bodyPr lIns="1764208" tIns="72009" rIns="72009" bIns="72009" anchor="ctr"/>
          <a:lstStyle>
            <a:lvl1pPr marL="0" indent="0" algn="l">
              <a:buNone/>
              <a:defRPr sz="2400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4919" y="4723733"/>
            <a:ext cx="10608733" cy="1440000"/>
          </a:xfrm>
          <a:noFill/>
          <a:ln w="9525">
            <a:solidFill>
              <a:srgbClr val="EF7D17"/>
            </a:solidFill>
          </a:ln>
        </p:spPr>
        <p:txBody>
          <a:bodyPr lIns="1764208" tIns="72009" rIns="72009" bIns="72009" anchor="ctr"/>
          <a:lstStyle>
            <a:lvl1pPr marL="0" indent="0" algn="l">
              <a:buNone/>
              <a:defRPr sz="2400" b="0"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976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4" name="Objekt 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175"/>
            <a:ext cx="12192000" cy="6854825"/>
          </a:xfrm>
          <a:noFill/>
          <a:ln w="9525">
            <a:noFill/>
          </a:ln>
        </p:spPr>
        <p:txBody>
          <a:bodyPr lIns="900000" tIns="864000" rIns="72009" bIns="72009" anchor="t"/>
          <a:lstStyle>
            <a:lvl1pPr marL="0" indent="0" algn="l">
              <a:buNone/>
              <a:defRPr sz="10666" b="0">
                <a:solidFill>
                  <a:schemeClr val="accent1"/>
                </a:solidFill>
                <a:latin typeface="+mj-lt"/>
              </a:defRPr>
            </a:lvl1pPr>
            <a:lvl2pPr marL="355591" indent="0">
              <a:buNone/>
              <a:defRPr sz="2133" b="1"/>
            </a:lvl2pPr>
            <a:lvl3pPr marL="719649" indent="0">
              <a:buNone/>
              <a:defRPr sz="2133" b="1"/>
            </a:lvl3pPr>
            <a:lvl4pPr marL="952476" indent="0">
              <a:buNone/>
              <a:defRPr sz="2133" b="1"/>
            </a:lvl4pPr>
            <a:lvl5pPr marL="1198003" indent="0">
              <a:buNone/>
              <a:defRPr sz="2133" b="1"/>
            </a:lvl5pPr>
          </a:lstStyle>
          <a:p>
            <a:pPr lvl="0"/>
            <a:r>
              <a:rPr lang="en-US" dirty="0"/>
              <a:t>Demo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9587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21DF8589-B011-40C4-A481-F679FAD4D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45" t="9806" r="17287" b="10494"/>
          <a:stretch/>
        </p:blipFill>
        <p:spPr>
          <a:xfrm flipH="1">
            <a:off x="12969" y="1216584"/>
            <a:ext cx="12192000" cy="4482047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0" name="Gruppieren 49"/>
          <p:cNvGrpSpPr/>
          <p:nvPr userDrawn="1"/>
        </p:nvGrpSpPr>
        <p:grpSpPr>
          <a:xfrm>
            <a:off x="-302638" y="-344052"/>
            <a:ext cx="12823217" cy="7573529"/>
            <a:chOff x="-226979" y="-258040"/>
            <a:chExt cx="9617413" cy="5680147"/>
          </a:xfrm>
        </p:grpSpPr>
        <p:cxnSp>
          <p:nvCxnSpPr>
            <p:cNvPr id="51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Grafik 32">
            <a:extLst>
              <a:ext uri="{FF2B5EF4-FFF2-40B4-BE49-F238E27FC236}">
                <a16:creationId xmlns:a16="http://schemas.microsoft.com/office/drawing/2014/main" id="{132061C6-EDE7-4EF5-8969-4C2913765CB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32" y="-247900"/>
            <a:ext cx="4144937" cy="1454792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A8EE145B-3F97-4429-B6B3-2C31F9F45B5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425440" y="2075276"/>
            <a:ext cx="6792499" cy="203391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r>
              <a:rPr lang="de-CH" sz="4267" b="1" dirty="0">
                <a:latin typeface="+mj-lt"/>
              </a:rPr>
              <a:t>«Gemeinsam treiben wir weltweit Innovationen voran </a:t>
            </a:r>
            <a:r>
              <a:rPr lang="de-CH" sz="4267" b="1" dirty="0">
                <a:solidFill>
                  <a:srgbClr val="FF9900"/>
                </a:solidFill>
                <a:latin typeface="+mj-lt"/>
              </a:rPr>
              <a:t>– </a:t>
            </a:r>
            <a:r>
              <a:rPr lang="de-CH" sz="4267" b="1" dirty="0" err="1">
                <a:solidFill>
                  <a:srgbClr val="FF9900"/>
                </a:solidFill>
                <a:latin typeface="+mj-lt"/>
              </a:rPr>
              <a:t>we</a:t>
            </a:r>
            <a:r>
              <a:rPr lang="de-CH" sz="4267" b="1" dirty="0">
                <a:solidFill>
                  <a:srgbClr val="FF9900"/>
                </a:solidFill>
                <a:latin typeface="+mj-lt"/>
              </a:rPr>
              <a:t> </a:t>
            </a:r>
            <a:r>
              <a:rPr lang="de-CH" sz="4267" b="1" dirty="0" err="1">
                <a:solidFill>
                  <a:srgbClr val="FF9900"/>
                </a:solidFill>
                <a:latin typeface="+mj-lt"/>
              </a:rPr>
              <a:t>know</a:t>
            </a:r>
            <a:r>
              <a:rPr lang="de-CH" sz="4267" b="1" dirty="0">
                <a:solidFill>
                  <a:srgbClr val="FF9900"/>
                </a:solidFill>
                <a:latin typeface="+mj-lt"/>
              </a:rPr>
              <a:t> </a:t>
            </a:r>
            <a:r>
              <a:rPr lang="de-CH" sz="4267" b="1" dirty="0" err="1">
                <a:solidFill>
                  <a:srgbClr val="FF9900"/>
                </a:solidFill>
                <a:latin typeface="+mj-lt"/>
              </a:rPr>
              <a:t>how</a:t>
            </a:r>
            <a:r>
              <a:rPr lang="de-CH" sz="4267" b="1" dirty="0">
                <a:solidFill>
                  <a:srgbClr val="FF9900"/>
                </a:solidFill>
                <a:latin typeface="+mj-lt"/>
              </a:rPr>
              <a:t>.»</a:t>
            </a:r>
            <a:endParaRPr lang="de-CH" sz="4800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E5641BC-67BA-4FF6-9308-D91CE91B52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23875"/>
          <a:stretch/>
        </p:blipFill>
        <p:spPr>
          <a:xfrm>
            <a:off x="2" y="5219688"/>
            <a:ext cx="8159749" cy="1638312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3D355D6B-8398-4C66-9272-B0D4DBAF7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60955"/>
          <a:stretch/>
        </p:blipFill>
        <p:spPr>
          <a:xfrm>
            <a:off x="8032755" y="5219688"/>
            <a:ext cx="4185184" cy="163831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217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2C8ABC6-2271-48C8-8348-9CC79BE27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27"/>
          <a:stretch/>
        </p:blipFill>
        <p:spPr>
          <a:xfrm flipH="1">
            <a:off x="0" y="1801640"/>
            <a:ext cx="12192000" cy="4482045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DAC8C33-81E8-47D8-85FF-DA49BBBF5134}"/>
              </a:ext>
            </a:extLst>
          </p:cNvPr>
          <p:cNvSpPr/>
          <p:nvPr userDrawn="1"/>
        </p:nvSpPr>
        <p:spPr>
          <a:xfrm>
            <a:off x="5919569" y="360025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4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04C51DAC-E475-4BF2-87B1-EDC3A916CD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5"/>
          <a:stretch/>
        </p:blipFill>
        <p:spPr>
          <a:xfrm flipH="1">
            <a:off x="1" y="1801639"/>
            <a:ext cx="12191999" cy="4482047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63FC8B7-A335-4E1B-9877-E38F5485C6B7}"/>
              </a:ext>
            </a:extLst>
          </p:cNvPr>
          <p:cNvSpPr/>
          <p:nvPr userDrawn="1"/>
        </p:nvSpPr>
        <p:spPr>
          <a:xfrm>
            <a:off x="5919569" y="331268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9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6AB6F51-E5C2-480E-A2EF-B22126A9A6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394"/>
          <a:stretch/>
        </p:blipFill>
        <p:spPr>
          <a:xfrm>
            <a:off x="2" y="1801639"/>
            <a:ext cx="12191999" cy="4482047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681C97C-CDBB-49B9-B094-8031CB1E10A5}"/>
              </a:ext>
            </a:extLst>
          </p:cNvPr>
          <p:cNvSpPr/>
          <p:nvPr userDrawn="1"/>
        </p:nvSpPr>
        <p:spPr>
          <a:xfrm>
            <a:off x="5919569" y="331268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13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04EAA225-F5C3-412D-A504-2CA8B0E793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0" t="-763" r="69" b="763"/>
          <a:stretch/>
        </p:blipFill>
        <p:spPr>
          <a:xfrm>
            <a:off x="-9366" y="1722732"/>
            <a:ext cx="12191999" cy="4482045"/>
          </a:xfrm>
          <a:prstGeom prst="rect">
            <a:avLst/>
          </a:prstGeom>
        </p:spPr>
      </p:pic>
      <p:pic>
        <p:nvPicPr>
          <p:cNvPr id="5" name="Bild 10">
            <a:extLst>
              <a:ext uri="{FF2B5EF4-FFF2-40B4-BE49-F238E27FC236}">
                <a16:creationId xmlns:a16="http://schemas.microsoft.com/office/drawing/2014/main" id="{E76DBCFC-8AD9-48FA-9419-64BB5F9693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230" y="392014"/>
            <a:ext cx="3718425" cy="884985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4E269085-82A4-459E-A4EC-E55FA380BF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89182"/>
            <a:ext cx="5115339" cy="1664767"/>
          </a:xfrm>
          <a:prstGeom prst="rect">
            <a:avLst/>
          </a:prstGeom>
          <a:solidFill>
            <a:schemeClr val="bg1">
              <a:alpha val="61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0" kern="1200" baseline="0">
                <a:solidFill>
                  <a:srgbClr val="404545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1"/>
            <a:endParaRPr lang="de-CH" sz="4267" b="1" dirty="0">
              <a:solidFill>
                <a:srgbClr val="FF9900"/>
              </a:solidFill>
              <a:latin typeface="+mj-lt"/>
            </a:endParaRPr>
          </a:p>
        </p:txBody>
      </p:sp>
      <p:pic>
        <p:nvPicPr>
          <p:cNvPr id="3" name="Bild 6">
            <a:extLst>
              <a:ext uri="{FF2B5EF4-FFF2-40B4-BE49-F238E27FC236}">
                <a16:creationId xmlns:a16="http://schemas.microsoft.com/office/drawing/2014/main" id="{2DA44B00-AC92-4DDF-8621-283793144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1" b="15112"/>
          <a:stretch/>
        </p:blipFill>
        <p:spPr>
          <a:xfrm>
            <a:off x="9795641" y="-232631"/>
            <a:ext cx="2396359" cy="7090632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6334D51-9996-4E6A-B1C6-47193B0485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4231" y="2804697"/>
            <a:ext cx="4790440" cy="1449251"/>
          </a:xfrm>
        </p:spPr>
        <p:txBody>
          <a:bodyPr/>
          <a:lstStyle>
            <a:lvl1pPr marL="0" indent="0">
              <a:buNone/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itel</a:t>
            </a:r>
          </a:p>
          <a:p>
            <a:pPr lvl="0"/>
            <a:r>
              <a:rPr lang="de-DE" dirty="0"/>
              <a:t>Untertit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B36CAA9-8A2E-4099-87F8-3CCDDE763D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4230" y="6415768"/>
            <a:ext cx="10564809" cy="310153"/>
          </a:xfrm>
        </p:spPr>
        <p:txBody>
          <a:bodyPr/>
          <a:lstStyle>
            <a:lvl1pPr marL="0" indent="0">
              <a:buNone/>
              <a:defRPr lang="de-DE" sz="1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e-DE" sz="3733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e-CH" sz="3733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Vorname Name | Abteilung oder Position | Monat Jahr</a:t>
            </a:r>
          </a:p>
          <a:p>
            <a:pPr lvl="0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A22F0B8-AA09-43EA-9B0F-C436295EAE56}"/>
              </a:ext>
            </a:extLst>
          </p:cNvPr>
          <p:cNvSpPr/>
          <p:nvPr userDrawn="1"/>
        </p:nvSpPr>
        <p:spPr>
          <a:xfrm>
            <a:off x="5919569" y="3312685"/>
            <a:ext cx="6096000" cy="2718949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de-CH" sz="4267" b="1" kern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«Gemeinsam treiben wir weltweit Innovationen voran 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–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we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kn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 </a:t>
            </a:r>
            <a:r>
              <a:rPr lang="de-CH" sz="4267" b="1" kern="1200" dirty="0" err="1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how</a:t>
            </a:r>
            <a:r>
              <a:rPr lang="de-CH" sz="4267" b="1" kern="1200" dirty="0">
                <a:solidFill>
                  <a:srgbClr val="FF99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+mn-cs"/>
              </a:rPr>
              <a:t>.»</a:t>
            </a:r>
            <a:endParaRPr lang="de-CH" sz="4800" b="1" kern="1200" dirty="0">
              <a:solidFill>
                <a:srgbClr val="FF99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28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293286" y="1484313"/>
            <a:ext cx="10562165" cy="720000"/>
          </a:xfrm>
          <a:prstGeom prst="rect">
            <a:avLst/>
          </a:prstGeom>
        </p:spPr>
        <p:txBody>
          <a:bodyPr lIns="0" tIns="0" anchor="t">
            <a:noAutofit/>
          </a:bodyPr>
          <a:lstStyle>
            <a:lvl1pPr algn="l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87"/>
            <a:ext cx="12192000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93286" y="5766065"/>
            <a:ext cx="10130365" cy="410369"/>
          </a:xfrm>
        </p:spPr>
        <p:txBody>
          <a:bodyPr wrap="square" anchor="b">
            <a:spAutoFit/>
          </a:bodyPr>
          <a:lstStyle>
            <a:lvl1pPr marL="0" indent="0">
              <a:buNone/>
              <a:defRPr sz="2667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293285" y="6541644"/>
            <a:ext cx="3097002" cy="16421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67" dirty="0">
                <a:solidFill>
                  <a:srgbClr val="616365"/>
                </a:solidFill>
              </a:rPr>
              <a:t>© Noser Engineering AG 2016, Alle Rechte vorbehalten.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3795463" cy="1332881"/>
          </a:xfrm>
          <a:prstGeom prst="rect">
            <a:avLst/>
          </a:prstGeom>
        </p:spPr>
      </p:pic>
      <p:grpSp>
        <p:nvGrpSpPr>
          <p:cNvPr id="52" name="Gruppieren 51"/>
          <p:cNvGrpSpPr/>
          <p:nvPr userDrawn="1"/>
        </p:nvGrpSpPr>
        <p:grpSpPr>
          <a:xfrm>
            <a:off x="-302638" y="-344052"/>
            <a:ext cx="12823217" cy="7573529"/>
            <a:chOff x="-226979" y="-258040"/>
            <a:chExt cx="9617413" cy="5680147"/>
          </a:xfrm>
        </p:grpSpPr>
        <p:cxnSp>
          <p:nvCxnSpPr>
            <p:cNvPr id="53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6671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0"/>
          <p:cNvSpPr>
            <a:spLocks noGrp="1"/>
          </p:cNvSpPr>
          <p:nvPr>
            <p:ph type="title" hasCustomPrompt="1"/>
          </p:nvPr>
        </p:nvSpPr>
        <p:spPr>
          <a:xfrm>
            <a:off x="1293283" y="1503099"/>
            <a:ext cx="10130368" cy="68242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3795463" cy="1332881"/>
          </a:xfrm>
          <a:prstGeom prst="rect">
            <a:avLst/>
          </a:prstGeom>
        </p:spPr>
      </p:pic>
      <p:grpSp>
        <p:nvGrpSpPr>
          <p:cNvPr id="29" name="Gruppieren 28"/>
          <p:cNvGrpSpPr/>
          <p:nvPr userDrawn="1"/>
        </p:nvGrpSpPr>
        <p:grpSpPr>
          <a:xfrm>
            <a:off x="-302638" y="-344052"/>
            <a:ext cx="12823217" cy="7573529"/>
            <a:chOff x="-226979" y="-258040"/>
            <a:chExt cx="9617413" cy="5680147"/>
          </a:xfrm>
        </p:grpSpPr>
        <p:cxnSp>
          <p:nvCxnSpPr>
            <p:cNvPr id="30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0"/>
            <p:cNvCxnSpPr/>
            <p:nvPr userDrawn="1"/>
          </p:nvCxnSpPr>
          <p:spPr>
            <a:xfrm flipH="1">
              <a:off x="-226979" y="448470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5"/>
            <p:cNvCxnSpPr/>
            <p:nvPr userDrawn="1"/>
          </p:nvCxnSpPr>
          <p:spPr>
            <a:xfrm flipH="1">
              <a:off x="9234791" y="448470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0492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0"/>
          <p:cNvSpPr>
            <a:spLocks noGrp="1"/>
          </p:cNvSpPr>
          <p:nvPr>
            <p:ph type="title" hasCustomPrompt="1"/>
          </p:nvPr>
        </p:nvSpPr>
        <p:spPr>
          <a:xfrm>
            <a:off x="1293283" y="1503099"/>
            <a:ext cx="10130368" cy="68242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3795463" cy="1332881"/>
          </a:xfrm>
          <a:prstGeom prst="rect">
            <a:avLst/>
          </a:prstGeom>
        </p:spPr>
      </p:pic>
      <p:grpSp>
        <p:nvGrpSpPr>
          <p:cNvPr id="50" name="Gruppieren 49"/>
          <p:cNvGrpSpPr/>
          <p:nvPr userDrawn="1"/>
        </p:nvGrpSpPr>
        <p:grpSpPr>
          <a:xfrm>
            <a:off x="-302638" y="-344052"/>
            <a:ext cx="12823217" cy="7573529"/>
            <a:chOff x="-226979" y="-258040"/>
            <a:chExt cx="9617413" cy="5680147"/>
          </a:xfrm>
        </p:grpSpPr>
        <p:cxnSp>
          <p:nvCxnSpPr>
            <p:cNvPr id="51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57783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6461" y="0"/>
            <a:ext cx="4845539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4918" y="404285"/>
            <a:ext cx="10608733" cy="90831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lvl="0" algn="l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81759" y="6490414"/>
            <a:ext cx="373692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786B2-AD40-4FFE-8FD1-BC9391A80177}" type="slidenum">
              <a:rPr lang="en-US" sz="1600" smtClean="0">
                <a:solidFill>
                  <a:srgbClr val="616365"/>
                </a:solidFill>
              </a:rPr>
              <a:pPr/>
              <a:t>‹Nr.›</a:t>
            </a:fld>
            <a:endParaRPr lang="en-US" sz="1600" dirty="0">
              <a:solidFill>
                <a:srgbClr val="616365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814918" y="1507066"/>
            <a:ext cx="10608733" cy="46587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r>
              <a:rPr lang="en-US" dirty="0"/>
              <a:t> 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302638" y="-344052"/>
            <a:ext cx="12823217" cy="7573529"/>
            <a:chOff x="-226979" y="-258040"/>
            <a:chExt cx="9617413" cy="5680147"/>
          </a:xfrm>
        </p:grpSpPr>
        <p:cxnSp>
          <p:nvCxnSpPr>
            <p:cNvPr id="5" name="Gerade Verbindung 4"/>
            <p:cNvCxnSpPr/>
            <p:nvPr userDrawn="1"/>
          </p:nvCxnSpPr>
          <p:spPr>
            <a:xfrm flipH="1">
              <a:off x="-226979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H="1">
              <a:off x="-226979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flipH="1">
              <a:off x="-226979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H="1">
              <a:off x="-226979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H="1">
              <a:off x="9234791" y="3024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H="1">
              <a:off x="9234791" y="113188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9234791" y="462756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H="1">
              <a:off x="9234791" y="491172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H="1">
              <a:off x="8489916" y="-18021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H="1">
              <a:off x="4639434" y="-18021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H="1">
              <a:off x="4387022" y="-18021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H="1">
              <a:off x="534075" y="-180217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H="1">
              <a:off x="895317" y="-180218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H="1">
              <a:off x="8489916" y="5344286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H="1">
              <a:off x="4639434" y="5344285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H="1">
              <a:off x="4387022" y="5344284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H="1">
              <a:off x="534075" y="5344283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rot="5400000" flipH="1">
              <a:off x="895317" y="5344282"/>
              <a:ext cx="155643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6"/>
    </p:custDataLst>
    <p:extLst>
      <p:ext uri="{BB962C8B-B14F-4D97-AF65-F5344CB8AC3E}">
        <p14:creationId xmlns:p14="http://schemas.microsoft.com/office/powerpoint/2010/main" val="221956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hf sldNum="0" hdr="0" dt="0"/>
  <p:txStyles>
    <p:titleStyle>
      <a:lvl1pPr algn="l" defTabSz="1219170" rtl="0" eaLnBrk="1" latinLnBrk="0" hangingPunct="1">
        <a:spcBef>
          <a:spcPct val="0"/>
        </a:spcBef>
        <a:buNone/>
        <a:defRPr lang="en-US" sz="3200" b="0" kern="1200" baseline="0" dirty="0" smtClean="0">
          <a:solidFill>
            <a:srgbClr val="404545"/>
          </a:solidFill>
          <a:latin typeface="+mj-lt"/>
          <a:ea typeface="+mj-ea"/>
          <a:cs typeface="Arial" pitchFamily="34" charset="0"/>
        </a:defRPr>
      </a:lvl1pPr>
    </p:titleStyle>
    <p:bodyStyle>
      <a:lvl1pPr marL="355591" indent="-355591" algn="l" defTabSz="1219170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Char char="•"/>
        <a:defRPr lang="en-US" sz="24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1pPr>
      <a:lvl2pPr marL="719649" indent="-364058" algn="l" defTabSz="1219170" rtl="0" eaLnBrk="1" latinLnBrk="0" hangingPunct="1">
        <a:spcBef>
          <a:spcPts val="800"/>
        </a:spcBef>
        <a:buFont typeface="Arial" pitchFamily="34" charset="0"/>
        <a:buChar char="–"/>
        <a:defRPr lang="en-US" sz="24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2pPr>
      <a:lvl3pPr marL="952476" indent="-232828" algn="l" defTabSz="1219170" rtl="0" eaLnBrk="1" latinLnBrk="0" hangingPunct="1">
        <a:spcBef>
          <a:spcPts val="800"/>
        </a:spcBef>
        <a:buFont typeface="Arial" pitchFamily="34" charset="0"/>
        <a:buChar char="•"/>
        <a:defRPr lang="en-US" sz="24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3pPr>
      <a:lvl4pPr marL="1198003" indent="-245527" algn="l" defTabSz="1219170" rtl="0" eaLnBrk="1" latinLnBrk="0" hangingPunct="1">
        <a:spcBef>
          <a:spcPts val="800"/>
        </a:spcBef>
        <a:buFont typeface="Arial" pitchFamily="34" charset="0"/>
        <a:buChar char="–"/>
        <a:defRPr lang="en-US" sz="24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4pPr>
      <a:lvl5pPr marL="1428715" indent="-230712" algn="l" defTabSz="1219170" rtl="0" eaLnBrk="1" latinLnBrk="0" hangingPunct="1">
        <a:spcBef>
          <a:spcPts val="800"/>
        </a:spcBef>
        <a:buFont typeface="Arial" pitchFamily="34" charset="0"/>
        <a:buChar char="»"/>
        <a:defRPr lang="en-US" sz="2400" kern="1200" dirty="0" smtClean="0">
          <a:solidFill>
            <a:srgbClr val="404545"/>
          </a:solidFill>
          <a:latin typeface="+mn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3">
          <p15:clr>
            <a:srgbClr val="F26B43"/>
          </p15:clr>
        </p15:guide>
        <p15:guide id="2" pos="385">
          <p15:clr>
            <a:srgbClr val="F26B43"/>
          </p15:clr>
        </p15:guide>
        <p15:guide id="3" pos="612">
          <p15:clr>
            <a:srgbClr val="F26B43"/>
          </p15:clr>
        </p15:guide>
        <p15:guide id="4" pos="2812">
          <p15:clr>
            <a:srgbClr val="F26B43"/>
          </p15:clr>
        </p15:guide>
        <p15:guide id="5" pos="2971">
          <p15:clr>
            <a:srgbClr val="F26B43"/>
          </p15:clr>
        </p15:guide>
        <p15:guide id="6" pos="5397">
          <p15:clr>
            <a:srgbClr val="F26B43"/>
          </p15:clr>
        </p15:guide>
        <p15:guide id="9" orient="horz" pos="713">
          <p15:clr>
            <a:srgbClr val="F26B43"/>
          </p15:clr>
        </p15:guide>
        <p15:guide id="10" orient="horz" pos="3094">
          <p15:clr>
            <a:srgbClr val="F26B43"/>
          </p15:clr>
        </p15:guide>
        <p15:guide id="11" orient="horz" pos="1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devblogs.microsoft.com/dotnet/migrating-a-sample-wpf-app-to-net-core-3-part-2/" TargetMode="External"/><Relationship Id="rId3" Type="http://schemas.openxmlformats.org/officeDocument/2006/relationships/tags" Target="../tags/tag28.xml"/><Relationship Id="rId7" Type="http://schemas.openxmlformats.org/officeDocument/2006/relationships/hyperlink" Target="https://devblogs.microsoft.com/dotnet/migrating-a-sample-wpf-app-to-net-core-3-part-1/" TargetMode="Externa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4.xml"/><Relationship Id="rId7" Type="http://schemas.openxmlformats.org/officeDocument/2006/relationships/image" Target="../media/image2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10834780" cy="4656667"/>
          </a:xfrm>
        </p:spPr>
        <p:txBody>
          <a:bodyPr/>
          <a:lstStyle/>
          <a:p>
            <a:endParaRPr lang="de-CH" dirty="0">
              <a:hlinkClick r:id="rId7"/>
            </a:endParaRPr>
          </a:p>
          <a:p>
            <a:r>
              <a:rPr lang="de-CH" dirty="0">
                <a:hlinkClick r:id="rId7"/>
              </a:rPr>
              <a:t>https://devblogs.microsoft.com/dotnet/migrating-a-sample-wpf-app-to-net-core-3-part-1/</a:t>
            </a:r>
            <a:endParaRPr lang="de-CH" dirty="0"/>
          </a:p>
          <a:p>
            <a:r>
              <a:rPr lang="de-CH" dirty="0">
                <a:hlinkClick r:id="rId8"/>
              </a:rPr>
              <a:t>https://devblogs.microsoft.com/dotnet/migrating-a-sample-wpf-app-to-net-core-3-part-2/</a:t>
            </a:r>
            <a:endParaRPr lang="de-DE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1223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5135033" cy="4656667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4 Major </a:t>
            </a:r>
            <a:r>
              <a:rPr lang="de-DE" dirty="0" err="1"/>
              <a:t>Steps</a:t>
            </a:r>
            <a:endParaRPr lang="de-DE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6C1DF27-BB5B-4FF0-841F-599A759F4E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2035" y="2675572"/>
            <a:ext cx="7181850" cy="22383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3488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5135033" cy="4656667"/>
          </a:xfrm>
        </p:spPr>
        <p:txBody>
          <a:bodyPr/>
          <a:lstStyle/>
          <a:p>
            <a:endParaRPr lang="de-DE" dirty="0"/>
          </a:p>
          <a:p>
            <a:r>
              <a:rPr lang="de-DE" dirty="0" err="1"/>
              <a:t>Preparation</a:t>
            </a:r>
            <a:endParaRPr lang="de-DE" dirty="0"/>
          </a:p>
          <a:p>
            <a:pPr lvl="1"/>
            <a:r>
              <a:rPr lang="de-DE" dirty="0"/>
              <a:t>.NET </a:t>
            </a:r>
            <a:r>
              <a:rPr lang="de-DE" dirty="0" err="1"/>
              <a:t>Portability</a:t>
            </a:r>
            <a:r>
              <a:rPr lang="de-DE" dirty="0"/>
              <a:t> Analyzer</a:t>
            </a:r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C77770B-C315-428C-8031-17E6394E0E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8098" y="3124517"/>
            <a:ext cx="9058275" cy="168592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6915EE7-0582-4013-8E21-76AF932C88DA}"/>
              </a:ext>
            </a:extLst>
          </p:cNvPr>
          <p:cNvSpPr txBox="1"/>
          <p:nvPr/>
        </p:nvSpPr>
        <p:spPr>
          <a:xfrm>
            <a:off x="1068098" y="4925228"/>
            <a:ext cx="2697662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CH" dirty="0"/>
              <a:t>Visual Studio 2017 Extens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0714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200C319-1316-43A9-826F-B9074D1BE1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8022" y="1964638"/>
            <a:ext cx="3667637" cy="261974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93F7EE7D-34AE-41EE-A1CF-7B1B4E4118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5084" y="1578538"/>
            <a:ext cx="4065744" cy="466686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3513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F8EE5F-BFFC-4035-B43A-31CBDC4E4451}"/>
              </a:ext>
            </a:extLst>
          </p:cNvPr>
          <p:cNvSpPr txBox="1"/>
          <p:nvPr/>
        </p:nvSpPr>
        <p:spPr>
          <a:xfrm>
            <a:off x="1568741" y="2080470"/>
            <a:ext cx="2818701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endParaRPr lang="de-CH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58269F8-F5AC-4C23-96BC-B1C3788CA3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918" y="1510018"/>
            <a:ext cx="5355464" cy="4836253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D8D7AFC4-5754-4640-B528-C728C668560E}"/>
              </a:ext>
            </a:extLst>
          </p:cNvPr>
          <p:cNvSpPr txBox="1"/>
          <p:nvPr/>
        </p:nvSpPr>
        <p:spPr>
          <a:xfrm>
            <a:off x="6602136" y="1803471"/>
            <a:ext cx="2136547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de-CH" dirty="0"/>
              <a:t>.NET </a:t>
            </a:r>
            <a:r>
              <a:rPr lang="de-CH" dirty="0" err="1"/>
              <a:t>Portability</a:t>
            </a:r>
            <a:r>
              <a:rPr lang="de-CH" dirty="0"/>
              <a:t> Repor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9316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CF8EE5F-BFFC-4035-B43A-31CBDC4E4451}"/>
              </a:ext>
            </a:extLst>
          </p:cNvPr>
          <p:cNvSpPr txBox="1"/>
          <p:nvPr/>
        </p:nvSpPr>
        <p:spPr>
          <a:xfrm>
            <a:off x="1568741" y="2080470"/>
            <a:ext cx="2818701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endParaRPr lang="de-CH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20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5135033" cy="4656667"/>
          </a:xfrm>
        </p:spPr>
        <p:txBody>
          <a:bodyPr/>
          <a:lstStyle/>
          <a:p>
            <a:endParaRPr lang="de-DE" dirty="0"/>
          </a:p>
          <a:p>
            <a:r>
              <a:rPr lang="de-DE" dirty="0" err="1"/>
              <a:t>Migrate</a:t>
            </a:r>
            <a:r>
              <a:rPr lang="de-DE" dirty="0"/>
              <a:t> Project File</a:t>
            </a:r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3642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5135033" cy="4656667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Fix Code and </a:t>
            </a:r>
            <a:r>
              <a:rPr lang="de-DE" dirty="0" err="1"/>
              <a:t>Build</a:t>
            </a:r>
            <a:endParaRPr lang="de-DE" dirty="0"/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51024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.NET Core 3</a:t>
            </a:r>
            <a:br>
              <a:rPr lang="de-DE" dirty="0"/>
            </a:br>
            <a:r>
              <a:rPr lang="de-DE" dirty="0" err="1"/>
              <a:t>Migrating</a:t>
            </a:r>
            <a:r>
              <a:rPr lang="de-DE" dirty="0"/>
              <a:t> a sample WPF App </a:t>
            </a:r>
            <a:r>
              <a:rPr lang="de-DE" dirty="0" err="1"/>
              <a:t>to</a:t>
            </a:r>
            <a:r>
              <a:rPr lang="de-DE" dirty="0"/>
              <a:t> .NET Core 3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733638" y="1639147"/>
            <a:ext cx="5135033" cy="4656667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Run Code and Test</a:t>
            </a:r>
          </a:p>
        </p:txBody>
      </p:sp>
      <p:sp>
        <p:nvSpPr>
          <p:cNvPr id="4" name="BainBulletsConfiguration" hidden="1"/>
          <p:cNvSpPr txBox="1"/>
          <p:nvPr/>
        </p:nvSpPr>
        <p:spPr bwMode="gray">
          <a:xfrm>
            <a:off x="16934" y="12701"/>
            <a:ext cx="11853333" cy="204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591" indent="-355591" defTabSz="1219170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en-US" sz="133" dirty="0">
              <a:solidFill>
                <a:srgbClr val="FFFFFF"/>
              </a:solidFill>
              <a:latin typeface="Trade Gothic LT Std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386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4_Vorlage-Noser-Engineering-Praesentation-V-009-E">
  <a:themeElements>
    <a:clrScheme name="Noser Farben">
      <a:dk1>
        <a:srgbClr val="404545"/>
      </a:dk1>
      <a:lt1>
        <a:sysClr val="window" lastClr="FFFFFF"/>
      </a:lt1>
      <a:dk2>
        <a:srgbClr val="FFE70F"/>
      </a:dk2>
      <a:lt2>
        <a:srgbClr val="E0E1DD"/>
      </a:lt2>
      <a:accent1>
        <a:srgbClr val="EF7D17"/>
      </a:accent1>
      <a:accent2>
        <a:srgbClr val="404545"/>
      </a:accent2>
      <a:accent3>
        <a:srgbClr val="616365"/>
      </a:accent3>
      <a:accent4>
        <a:srgbClr val="878786"/>
      </a:accent4>
      <a:accent5>
        <a:srgbClr val="E0E1DD"/>
      </a:accent5>
      <a:accent6>
        <a:srgbClr val="FFE70F"/>
      </a:accent6>
      <a:hlink>
        <a:srgbClr val="616365"/>
      </a:hlink>
      <a:folHlink>
        <a:srgbClr val="878786"/>
      </a:folHlink>
    </a:clrScheme>
    <a:fontScheme name="Noser_Schrift">
      <a:majorFont>
        <a:latin typeface="Trade Gothic LT Std Bold"/>
        <a:ea typeface=""/>
        <a:cs typeface=""/>
      </a:majorFont>
      <a:minorFont>
        <a:latin typeface="Trade Gothic LT St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spAutoFit/>
      </a:bodyPr>
      <a:lstStyle>
        <a:defPPr marL="266700" indent="-266700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</Words>
  <Application>Microsoft Office PowerPoint</Application>
  <PresentationFormat>Breitbild</PresentationFormat>
  <Paragraphs>25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Trade Gothic LT Std</vt:lpstr>
      <vt:lpstr>Trade Gothic LT Std Bold</vt:lpstr>
      <vt:lpstr>4_Vorlage-Noser-Engineering-Praesentation-V-009-E</vt:lpstr>
      <vt:lpstr>think-cell Folie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  <vt:lpstr>.NET Core 3 Migrating a sample WPF App to .NET Core 3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.NET Core 3 Migrating a sample WPF App to .NET Core 3</dc:title>
  <dc:creator>Corbat Olivier</dc:creator>
  <cp:lastModifiedBy>Corbat Olivier</cp:lastModifiedBy>
  <cp:revision>12</cp:revision>
  <dcterms:created xsi:type="dcterms:W3CDTF">2019-08-29T14:13:18Z</dcterms:created>
  <dcterms:modified xsi:type="dcterms:W3CDTF">2019-08-29T15:37:17Z</dcterms:modified>
</cp:coreProperties>
</file>